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56" r:id="rId5"/>
    <p:sldId id="392" r:id="rId6"/>
    <p:sldId id="387" r:id="rId7"/>
    <p:sldId id="388" r:id="rId8"/>
    <p:sldId id="389" r:id="rId9"/>
    <p:sldId id="391" r:id="rId10"/>
    <p:sldId id="393" r:id="rId11"/>
    <p:sldId id="266" r:id="rId12"/>
  </p:sldIdLst>
  <p:sldSz cx="12192000" cy="6858000"/>
  <p:notesSz cx="6858000" cy="9144000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 Daamen" initials="ED" lastIdx="8" clrIdx="0"/>
  <p:cmAuthor id="2" name="Petra Rijkelijkhuizen" initials="PR" lastIdx="1" clrIdx="1">
    <p:extLst>
      <p:ext uri="{19B8F6BF-5375-455C-9EA6-DF929625EA0E}">
        <p15:presenceInfo xmlns:p15="http://schemas.microsoft.com/office/powerpoint/2012/main" userId="S::petra.rijkelijkhuizen@kb.nl::4d0fe5e7-c5eb-492b-b7df-305f8e55e3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DD25B6-47D1-4A17-9C2F-43903113014F}" v="6" dt="2024-04-05T13:04:32.599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5772" autoAdjust="0"/>
  </p:normalViewPr>
  <p:slideViewPr>
    <p:cSldViewPr snapToGrid="0" showGuides="1">
      <p:cViewPr varScale="1">
        <p:scale>
          <a:sx n="82" d="100"/>
          <a:sy n="82" d="100"/>
        </p:scale>
        <p:origin x="216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52"/>
    </p:cViewPr>
  </p:sorterViewPr>
  <p:notesViewPr>
    <p:cSldViewPr snapToGrid="0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ra Rijkelijkhuizen" userId="4d0fe5e7-c5eb-492b-b7df-305f8e55e396" providerId="ADAL" clId="{7FDD25B6-47D1-4A17-9C2F-43903113014F}"/>
    <pc:docChg chg="custSel addSld delSld modSld sldOrd">
      <pc:chgData name="Petra Rijkelijkhuizen" userId="4d0fe5e7-c5eb-492b-b7df-305f8e55e396" providerId="ADAL" clId="{7FDD25B6-47D1-4A17-9C2F-43903113014F}" dt="2024-04-05T13:04:34.890" v="506" actId="962"/>
      <pc:docMkLst>
        <pc:docMk/>
      </pc:docMkLst>
      <pc:sldChg chg="ord">
        <pc:chgData name="Petra Rijkelijkhuizen" userId="4d0fe5e7-c5eb-492b-b7df-305f8e55e396" providerId="ADAL" clId="{7FDD25B6-47D1-4A17-9C2F-43903113014F}" dt="2024-04-05T12:45:30.716" v="385"/>
        <pc:sldMkLst>
          <pc:docMk/>
          <pc:sldMk cId="2392888486" sldId="266"/>
        </pc:sldMkLst>
      </pc:sldChg>
      <pc:sldChg chg="addSp delSp modSp mod modClrScheme chgLayout">
        <pc:chgData name="Petra Rijkelijkhuizen" userId="4d0fe5e7-c5eb-492b-b7df-305f8e55e396" providerId="ADAL" clId="{7FDD25B6-47D1-4A17-9C2F-43903113014F}" dt="2024-04-05T11:55:30.310" v="174" actId="478"/>
        <pc:sldMkLst>
          <pc:docMk/>
          <pc:sldMk cId="1850786863" sldId="356"/>
        </pc:sldMkLst>
        <pc:spChg chg="add mod ord">
          <ac:chgData name="Petra Rijkelijkhuizen" userId="4d0fe5e7-c5eb-492b-b7df-305f8e55e396" providerId="ADAL" clId="{7FDD25B6-47D1-4A17-9C2F-43903113014F}" dt="2024-04-05T11:53:55.801" v="147" actId="20577"/>
          <ac:spMkLst>
            <pc:docMk/>
            <pc:sldMk cId="1850786863" sldId="356"/>
            <ac:spMk id="2" creationId="{099A8E71-E65B-32C2-EDAF-A096B6889D3F}"/>
          </ac:spMkLst>
        </pc:spChg>
        <pc:spChg chg="mod ord">
          <ac:chgData name="Petra Rijkelijkhuizen" userId="4d0fe5e7-c5eb-492b-b7df-305f8e55e396" providerId="ADAL" clId="{7FDD25B6-47D1-4A17-9C2F-43903113014F}" dt="2024-04-05T11:53:36.955" v="130" actId="700"/>
          <ac:spMkLst>
            <pc:docMk/>
            <pc:sldMk cId="1850786863" sldId="356"/>
            <ac:spMk id="3" creationId="{38EC9A93-6B07-FA45-96D3-3668622DADEB}"/>
          </ac:spMkLst>
        </pc:spChg>
        <pc:spChg chg="mod ord">
          <ac:chgData name="Petra Rijkelijkhuizen" userId="4d0fe5e7-c5eb-492b-b7df-305f8e55e396" providerId="ADAL" clId="{7FDD25B6-47D1-4A17-9C2F-43903113014F}" dt="2024-04-05T11:54:27.490" v="167" actId="14100"/>
          <ac:spMkLst>
            <pc:docMk/>
            <pc:sldMk cId="1850786863" sldId="356"/>
            <ac:spMk id="4" creationId="{00E53C6D-E277-8343-ACFA-5AD6555225EC}"/>
          </ac:spMkLst>
        </pc:spChg>
        <pc:spChg chg="add del mod ord">
          <ac:chgData name="Petra Rijkelijkhuizen" userId="4d0fe5e7-c5eb-492b-b7df-305f8e55e396" providerId="ADAL" clId="{7FDD25B6-47D1-4A17-9C2F-43903113014F}" dt="2024-04-05T11:55:10.571" v="171" actId="931"/>
          <ac:spMkLst>
            <pc:docMk/>
            <pc:sldMk cId="1850786863" sldId="356"/>
            <ac:spMk id="5" creationId="{B45BC1A9-DE32-6D17-9319-2F9F28016887}"/>
          </ac:spMkLst>
        </pc:spChg>
        <pc:spChg chg="add del mod ord">
          <ac:chgData name="Petra Rijkelijkhuizen" userId="4d0fe5e7-c5eb-492b-b7df-305f8e55e396" providerId="ADAL" clId="{7FDD25B6-47D1-4A17-9C2F-43903113014F}" dt="2024-04-05T11:55:30.310" v="174" actId="478"/>
          <ac:spMkLst>
            <pc:docMk/>
            <pc:sldMk cId="1850786863" sldId="356"/>
            <ac:spMk id="6" creationId="{911B4C0D-E122-ABD7-FB5E-D03D60AE1F27}"/>
          </ac:spMkLst>
        </pc:spChg>
        <pc:picChg chg="add mod">
          <ac:chgData name="Petra Rijkelijkhuizen" userId="4d0fe5e7-c5eb-492b-b7df-305f8e55e396" providerId="ADAL" clId="{7FDD25B6-47D1-4A17-9C2F-43903113014F}" dt="2024-04-05T11:55:11.934" v="173" actId="962"/>
          <ac:picMkLst>
            <pc:docMk/>
            <pc:sldMk cId="1850786863" sldId="356"/>
            <ac:picMk id="8" creationId="{08B1DA2B-F440-A144-2FA1-8FF3AAEAB93C}"/>
          </ac:picMkLst>
        </pc:picChg>
      </pc:sldChg>
      <pc:sldChg chg="del">
        <pc:chgData name="Petra Rijkelijkhuizen" userId="4d0fe5e7-c5eb-492b-b7df-305f8e55e396" providerId="ADAL" clId="{7FDD25B6-47D1-4A17-9C2F-43903113014F}" dt="2024-04-05T12:44:39.990" v="365" actId="47"/>
        <pc:sldMkLst>
          <pc:docMk/>
          <pc:sldMk cId="916687048" sldId="373"/>
        </pc:sldMkLst>
      </pc:sldChg>
      <pc:sldChg chg="del">
        <pc:chgData name="Petra Rijkelijkhuizen" userId="4d0fe5e7-c5eb-492b-b7df-305f8e55e396" providerId="ADAL" clId="{7FDD25B6-47D1-4A17-9C2F-43903113014F}" dt="2024-04-05T12:44:41.338" v="366" actId="47"/>
        <pc:sldMkLst>
          <pc:docMk/>
          <pc:sldMk cId="2930527998" sldId="385"/>
        </pc:sldMkLst>
      </pc:sldChg>
      <pc:sldChg chg="del">
        <pc:chgData name="Petra Rijkelijkhuizen" userId="4d0fe5e7-c5eb-492b-b7df-305f8e55e396" providerId="ADAL" clId="{7FDD25B6-47D1-4A17-9C2F-43903113014F}" dt="2024-04-05T11:50:40.809" v="0" actId="47"/>
        <pc:sldMkLst>
          <pc:docMk/>
          <pc:sldMk cId="805915855" sldId="386"/>
        </pc:sldMkLst>
      </pc:sldChg>
      <pc:sldChg chg="modSp mod">
        <pc:chgData name="Petra Rijkelijkhuizen" userId="4d0fe5e7-c5eb-492b-b7df-305f8e55e396" providerId="ADAL" clId="{7FDD25B6-47D1-4A17-9C2F-43903113014F}" dt="2024-04-05T11:51:29.232" v="92" actId="20577"/>
        <pc:sldMkLst>
          <pc:docMk/>
          <pc:sldMk cId="3513289796" sldId="388"/>
        </pc:sldMkLst>
        <pc:spChg chg="mod">
          <ac:chgData name="Petra Rijkelijkhuizen" userId="4d0fe5e7-c5eb-492b-b7df-305f8e55e396" providerId="ADAL" clId="{7FDD25B6-47D1-4A17-9C2F-43903113014F}" dt="2024-04-05T11:51:29.232" v="92" actId="20577"/>
          <ac:spMkLst>
            <pc:docMk/>
            <pc:sldMk cId="3513289796" sldId="388"/>
            <ac:spMk id="2" creationId="{98E538BE-7D35-4B18-A436-8404519C1618}"/>
          </ac:spMkLst>
        </pc:spChg>
      </pc:sldChg>
      <pc:sldChg chg="addSp delSp modSp mod">
        <pc:chgData name="Petra Rijkelijkhuizen" userId="4d0fe5e7-c5eb-492b-b7df-305f8e55e396" providerId="ADAL" clId="{7FDD25B6-47D1-4A17-9C2F-43903113014F}" dt="2024-04-05T13:04:34.890" v="506" actId="962"/>
        <pc:sldMkLst>
          <pc:docMk/>
          <pc:sldMk cId="1710517513" sldId="389"/>
        </pc:sldMkLst>
        <pc:spChg chg="mod">
          <ac:chgData name="Petra Rijkelijkhuizen" userId="4d0fe5e7-c5eb-492b-b7df-305f8e55e396" providerId="ADAL" clId="{7FDD25B6-47D1-4A17-9C2F-43903113014F}" dt="2024-04-05T11:52:03.194" v="117" actId="20577"/>
          <ac:spMkLst>
            <pc:docMk/>
            <pc:sldMk cId="1710517513" sldId="389"/>
            <ac:spMk id="2" creationId="{22A7F068-8E2A-4A9E-836E-1C6FDBC60266}"/>
          </ac:spMkLst>
        </pc:spChg>
        <pc:spChg chg="add del mod">
          <ac:chgData name="Petra Rijkelijkhuizen" userId="4d0fe5e7-c5eb-492b-b7df-305f8e55e396" providerId="ADAL" clId="{7FDD25B6-47D1-4A17-9C2F-43903113014F}" dt="2024-04-05T13:04:32.595" v="504" actId="931"/>
          <ac:spMkLst>
            <pc:docMk/>
            <pc:sldMk cId="1710517513" sldId="389"/>
            <ac:spMk id="7" creationId="{B41D49A7-EDBD-C999-D42E-3EA763DE98AB}"/>
          </ac:spMkLst>
        </pc:spChg>
        <pc:picChg chg="del">
          <ac:chgData name="Petra Rijkelijkhuizen" userId="4d0fe5e7-c5eb-492b-b7df-305f8e55e396" providerId="ADAL" clId="{7FDD25B6-47D1-4A17-9C2F-43903113014F}" dt="2024-04-05T13:03:47.384" v="501" actId="478"/>
          <ac:picMkLst>
            <pc:docMk/>
            <pc:sldMk cId="1710517513" sldId="389"/>
            <ac:picMk id="8" creationId="{F4AFA2DF-C47C-4E3A-85A5-765A74F165A3}"/>
          </ac:picMkLst>
        </pc:picChg>
        <pc:picChg chg="add mod">
          <ac:chgData name="Petra Rijkelijkhuizen" userId="4d0fe5e7-c5eb-492b-b7df-305f8e55e396" providerId="ADAL" clId="{7FDD25B6-47D1-4A17-9C2F-43903113014F}" dt="2024-04-05T13:04:34.890" v="506" actId="962"/>
          <ac:picMkLst>
            <pc:docMk/>
            <pc:sldMk cId="1710517513" sldId="389"/>
            <ac:picMk id="10" creationId="{A22793F7-642E-B609-7A2E-9CB1D887C2CE}"/>
          </ac:picMkLst>
        </pc:picChg>
      </pc:sldChg>
      <pc:sldChg chg="del">
        <pc:chgData name="Petra Rijkelijkhuizen" userId="4d0fe5e7-c5eb-492b-b7df-305f8e55e396" providerId="ADAL" clId="{7FDD25B6-47D1-4A17-9C2F-43903113014F}" dt="2024-04-05T13:03:42.775" v="500" actId="47"/>
        <pc:sldMkLst>
          <pc:docMk/>
          <pc:sldMk cId="1367412591" sldId="390"/>
        </pc:sldMkLst>
      </pc:sldChg>
      <pc:sldChg chg="addSp delSp modSp new mod modClrScheme chgLayout">
        <pc:chgData name="Petra Rijkelijkhuizen" userId="4d0fe5e7-c5eb-492b-b7df-305f8e55e396" providerId="ADAL" clId="{7FDD25B6-47D1-4A17-9C2F-43903113014F}" dt="2024-04-05T13:02:23.247" v="499"/>
        <pc:sldMkLst>
          <pc:docMk/>
          <pc:sldMk cId="2911261887" sldId="391"/>
        </pc:sldMkLst>
        <pc:spChg chg="del 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2" creationId="{AF76F634-2F46-D09C-7D55-F75311AF6801}"/>
          </ac:spMkLst>
        </pc:spChg>
        <pc:spChg chg="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3" creationId="{73690D3E-F507-3DB6-9A4A-3DA4B5E6995C}"/>
          </ac:spMkLst>
        </pc:spChg>
        <pc:spChg chg="del 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4" creationId="{FE6F3523-560A-E54D-FDEF-EB87F979218D}"/>
          </ac:spMkLst>
        </pc:spChg>
        <pc:spChg chg="del 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5" creationId="{1D467D2E-D4AE-6500-1E38-03A123A9F152}"/>
          </ac:spMkLst>
        </pc:spChg>
        <pc:spChg chg="del 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6" creationId="{CC2A901A-5CC6-DFAC-51A7-0921C3A8D83D}"/>
          </ac:spMkLst>
        </pc:spChg>
        <pc:spChg chg="add mod ord">
          <ac:chgData name="Petra Rijkelijkhuizen" userId="4d0fe5e7-c5eb-492b-b7df-305f8e55e396" providerId="ADAL" clId="{7FDD25B6-47D1-4A17-9C2F-43903113014F}" dt="2024-04-05T12:15:33.561" v="333" actId="20577"/>
          <ac:spMkLst>
            <pc:docMk/>
            <pc:sldMk cId="2911261887" sldId="391"/>
            <ac:spMk id="7" creationId="{C7EC9AD5-9B9E-909C-75D4-CBEBA68E0569}"/>
          </ac:spMkLst>
        </pc:spChg>
        <pc:spChg chg="add mod ord">
          <ac:chgData name="Petra Rijkelijkhuizen" userId="4d0fe5e7-c5eb-492b-b7df-305f8e55e396" providerId="ADAL" clId="{7FDD25B6-47D1-4A17-9C2F-43903113014F}" dt="2024-04-05T12:56:24.098" v="498" actId="20577"/>
          <ac:spMkLst>
            <pc:docMk/>
            <pc:sldMk cId="2911261887" sldId="391"/>
            <ac:spMk id="8" creationId="{CFC27AAF-3191-8BC1-8B43-354A58F81F68}"/>
          </ac:spMkLst>
        </pc:spChg>
        <pc:spChg chg="add del mod ord">
          <ac:chgData name="Petra Rijkelijkhuizen" userId="4d0fe5e7-c5eb-492b-b7df-305f8e55e396" providerId="ADAL" clId="{7FDD25B6-47D1-4A17-9C2F-43903113014F}" dt="2024-04-05T13:02:23.247" v="499"/>
          <ac:spMkLst>
            <pc:docMk/>
            <pc:sldMk cId="2911261887" sldId="391"/>
            <ac:spMk id="9" creationId="{673EBAAA-6ED0-B141-E861-A4148FA882B4}"/>
          </ac:spMkLst>
        </pc:spChg>
        <pc:spChg chg="add mod ord">
          <ac:chgData name="Petra Rijkelijkhuizen" userId="4d0fe5e7-c5eb-492b-b7df-305f8e55e396" providerId="ADAL" clId="{7FDD25B6-47D1-4A17-9C2F-43903113014F}" dt="2024-04-05T11:52:38.174" v="119" actId="700"/>
          <ac:spMkLst>
            <pc:docMk/>
            <pc:sldMk cId="2911261887" sldId="391"/>
            <ac:spMk id="10" creationId="{5ED7880D-DAC7-83AD-8F39-A85FDAA1A2DE}"/>
          </ac:spMkLst>
        </pc:spChg>
        <pc:picChg chg="add mod">
          <ac:chgData name="Petra Rijkelijkhuizen" userId="4d0fe5e7-c5eb-492b-b7df-305f8e55e396" providerId="ADAL" clId="{7FDD25B6-47D1-4A17-9C2F-43903113014F}" dt="2024-04-05T13:02:23.247" v="499"/>
          <ac:picMkLst>
            <pc:docMk/>
            <pc:sldMk cId="2911261887" sldId="391"/>
            <ac:picMk id="1026" creationId="{A1B08712-F82F-85D2-78AE-9082B05257F8}"/>
          </ac:picMkLst>
        </pc:picChg>
      </pc:sldChg>
      <pc:sldChg chg="addSp delSp modSp new mod modClrScheme chgLayout">
        <pc:chgData name="Petra Rijkelijkhuizen" userId="4d0fe5e7-c5eb-492b-b7df-305f8e55e396" providerId="ADAL" clId="{7FDD25B6-47D1-4A17-9C2F-43903113014F}" dt="2024-04-05T12:14:47.257" v="326" actId="26606"/>
        <pc:sldMkLst>
          <pc:docMk/>
          <pc:sldMk cId="1320826591" sldId="392"/>
        </pc:sldMkLst>
        <pc:spChg chg="del mod ord">
          <ac:chgData name="Petra Rijkelijkhuizen" userId="4d0fe5e7-c5eb-492b-b7df-305f8e55e396" providerId="ADAL" clId="{7FDD25B6-47D1-4A17-9C2F-43903113014F}" dt="2024-04-05T11:55:48.959" v="176" actId="700"/>
          <ac:spMkLst>
            <pc:docMk/>
            <pc:sldMk cId="1320826591" sldId="392"/>
            <ac:spMk id="2" creationId="{0E71591A-389A-EAB0-5485-7B89FB09DED5}"/>
          </ac:spMkLst>
        </pc:spChg>
        <pc:spChg chg="del mod ord">
          <ac:chgData name="Petra Rijkelijkhuizen" userId="4d0fe5e7-c5eb-492b-b7df-305f8e55e396" providerId="ADAL" clId="{7FDD25B6-47D1-4A17-9C2F-43903113014F}" dt="2024-04-05T11:55:48.959" v="176" actId="700"/>
          <ac:spMkLst>
            <pc:docMk/>
            <pc:sldMk cId="1320826591" sldId="392"/>
            <ac:spMk id="3" creationId="{3B876885-D59B-1415-54E5-1173A79CC7A2}"/>
          </ac:spMkLst>
        </pc:spChg>
        <pc:spChg chg="del mod ord">
          <ac:chgData name="Petra Rijkelijkhuizen" userId="4d0fe5e7-c5eb-492b-b7df-305f8e55e396" providerId="ADAL" clId="{7FDD25B6-47D1-4A17-9C2F-43903113014F}" dt="2024-04-05T11:55:48.959" v="176" actId="700"/>
          <ac:spMkLst>
            <pc:docMk/>
            <pc:sldMk cId="1320826591" sldId="392"/>
            <ac:spMk id="4" creationId="{34959A18-9D64-3631-F797-96D350C2A04E}"/>
          </ac:spMkLst>
        </pc:spChg>
        <pc:spChg chg="del mod ord">
          <ac:chgData name="Petra Rijkelijkhuizen" userId="4d0fe5e7-c5eb-492b-b7df-305f8e55e396" providerId="ADAL" clId="{7FDD25B6-47D1-4A17-9C2F-43903113014F}" dt="2024-04-05T11:55:48.959" v="176" actId="700"/>
          <ac:spMkLst>
            <pc:docMk/>
            <pc:sldMk cId="1320826591" sldId="392"/>
            <ac:spMk id="5" creationId="{ED4F2B78-AF79-E75D-FE47-290D3C9D8DC6}"/>
          </ac:spMkLst>
        </pc:spChg>
        <pc:spChg chg="del">
          <ac:chgData name="Petra Rijkelijkhuizen" userId="4d0fe5e7-c5eb-492b-b7df-305f8e55e396" providerId="ADAL" clId="{7FDD25B6-47D1-4A17-9C2F-43903113014F}" dt="2024-04-05T11:55:48.959" v="176" actId="700"/>
          <ac:spMkLst>
            <pc:docMk/>
            <pc:sldMk cId="1320826591" sldId="392"/>
            <ac:spMk id="6" creationId="{BE7C51F1-0431-19E0-CFE8-D0D2B6858D5D}"/>
          </ac:spMkLst>
        </pc:spChg>
        <pc:spChg chg="add mod ord">
          <ac:chgData name="Petra Rijkelijkhuizen" userId="4d0fe5e7-c5eb-492b-b7df-305f8e55e396" providerId="ADAL" clId="{7FDD25B6-47D1-4A17-9C2F-43903113014F}" dt="2024-04-05T12:14:47.257" v="326" actId="26606"/>
          <ac:spMkLst>
            <pc:docMk/>
            <pc:sldMk cId="1320826591" sldId="392"/>
            <ac:spMk id="7" creationId="{6D773876-C1BF-5256-98FE-40DE56BCABA4}"/>
          </ac:spMkLst>
        </pc:spChg>
        <pc:spChg chg="add mod ord">
          <ac:chgData name="Petra Rijkelijkhuizen" userId="4d0fe5e7-c5eb-492b-b7df-305f8e55e396" providerId="ADAL" clId="{7FDD25B6-47D1-4A17-9C2F-43903113014F}" dt="2024-04-05T12:14:47.257" v="326" actId="26606"/>
          <ac:spMkLst>
            <pc:docMk/>
            <pc:sldMk cId="1320826591" sldId="392"/>
            <ac:spMk id="8" creationId="{12EC650E-6218-81D7-DBE1-FB9974891AFF}"/>
          </ac:spMkLst>
        </pc:spChg>
        <pc:spChg chg="add del mod ord">
          <ac:chgData name="Petra Rijkelijkhuizen" userId="4d0fe5e7-c5eb-492b-b7df-305f8e55e396" providerId="ADAL" clId="{7FDD25B6-47D1-4A17-9C2F-43903113014F}" dt="2024-04-05T12:14:04.988" v="291" actId="478"/>
          <ac:spMkLst>
            <pc:docMk/>
            <pc:sldMk cId="1320826591" sldId="392"/>
            <ac:spMk id="9" creationId="{0D74915B-9999-C076-E169-D7B07BC49911}"/>
          </ac:spMkLst>
        </pc:spChg>
        <pc:spChg chg="add del mod ord">
          <ac:chgData name="Petra Rijkelijkhuizen" userId="4d0fe5e7-c5eb-492b-b7df-305f8e55e396" providerId="ADAL" clId="{7FDD25B6-47D1-4A17-9C2F-43903113014F}" dt="2024-04-05T12:13:27.256" v="258" actId="700"/>
          <ac:spMkLst>
            <pc:docMk/>
            <pc:sldMk cId="1320826591" sldId="392"/>
            <ac:spMk id="10" creationId="{12A9D4D1-81C9-42F7-3A8E-18117C5EC377}"/>
          </ac:spMkLst>
        </pc:spChg>
        <pc:spChg chg="add del mod ord">
          <ac:chgData name="Petra Rijkelijkhuizen" userId="4d0fe5e7-c5eb-492b-b7df-305f8e55e396" providerId="ADAL" clId="{7FDD25B6-47D1-4A17-9C2F-43903113014F}" dt="2024-04-05T12:14:37.551" v="323" actId="931"/>
          <ac:spMkLst>
            <pc:docMk/>
            <pc:sldMk cId="1320826591" sldId="392"/>
            <ac:spMk id="11" creationId="{75A024BB-0B21-A43C-2FFB-F8498D7611F6}"/>
          </ac:spMkLst>
        </pc:spChg>
        <pc:spChg chg="add del mod ord">
          <ac:chgData name="Petra Rijkelijkhuizen" userId="4d0fe5e7-c5eb-492b-b7df-305f8e55e396" providerId="ADAL" clId="{7FDD25B6-47D1-4A17-9C2F-43903113014F}" dt="2024-04-05T12:14:47.257" v="326" actId="26606"/>
          <ac:spMkLst>
            <pc:docMk/>
            <pc:sldMk cId="1320826591" sldId="392"/>
            <ac:spMk id="12" creationId="{1D3B5658-0B8B-E257-29E9-6D6359E3DBBD}"/>
          </ac:spMkLst>
        </pc:spChg>
        <pc:spChg chg="add mod">
          <ac:chgData name="Petra Rijkelijkhuizen" userId="4d0fe5e7-c5eb-492b-b7df-305f8e55e396" providerId="ADAL" clId="{7FDD25B6-47D1-4A17-9C2F-43903113014F}" dt="2024-04-05T12:14:47.257" v="326" actId="26606"/>
          <ac:spMkLst>
            <pc:docMk/>
            <pc:sldMk cId="1320826591" sldId="392"/>
            <ac:spMk id="19" creationId="{0BFE7DDE-28DB-D93A-0F2E-485C47701E88}"/>
          </ac:spMkLst>
        </pc:spChg>
        <pc:spChg chg="add mod">
          <ac:chgData name="Petra Rijkelijkhuizen" userId="4d0fe5e7-c5eb-492b-b7df-305f8e55e396" providerId="ADAL" clId="{7FDD25B6-47D1-4A17-9C2F-43903113014F}" dt="2024-04-05T12:14:47.257" v="326" actId="26606"/>
          <ac:spMkLst>
            <pc:docMk/>
            <pc:sldMk cId="1320826591" sldId="392"/>
            <ac:spMk id="21" creationId="{893C9390-4AB0-0775-F59F-6957AFB50B35}"/>
          </ac:spMkLst>
        </pc:spChg>
        <pc:picChg chg="add mod ord">
          <ac:chgData name="Petra Rijkelijkhuizen" userId="4d0fe5e7-c5eb-492b-b7df-305f8e55e396" providerId="ADAL" clId="{7FDD25B6-47D1-4A17-9C2F-43903113014F}" dt="2024-04-05T12:14:47.257" v="326" actId="26606"/>
          <ac:picMkLst>
            <pc:docMk/>
            <pc:sldMk cId="1320826591" sldId="392"/>
            <ac:picMk id="14" creationId="{E6FA63CB-E81B-9F6E-8A44-038E3DC14191}"/>
          </ac:picMkLst>
        </pc:picChg>
      </pc:sldChg>
      <pc:sldChg chg="addSp delSp modSp new mod modClrScheme chgLayout">
        <pc:chgData name="Petra Rijkelijkhuizen" userId="4d0fe5e7-c5eb-492b-b7df-305f8e55e396" providerId="ADAL" clId="{7FDD25B6-47D1-4A17-9C2F-43903113014F}" dt="2024-04-05T12:55:00.254" v="437" actId="20577"/>
        <pc:sldMkLst>
          <pc:docMk/>
          <pc:sldMk cId="4256846419" sldId="393"/>
        </pc:sldMkLst>
        <pc:spChg chg="del mod ord">
          <ac:chgData name="Petra Rijkelijkhuizen" userId="4d0fe5e7-c5eb-492b-b7df-305f8e55e396" providerId="ADAL" clId="{7FDD25B6-47D1-4A17-9C2F-43903113014F}" dt="2024-04-05T12:45:46.028" v="386" actId="700"/>
          <ac:spMkLst>
            <pc:docMk/>
            <pc:sldMk cId="4256846419" sldId="393"/>
            <ac:spMk id="2" creationId="{2338B5B2-F39B-7D62-C2A1-357BE67759C5}"/>
          </ac:spMkLst>
        </pc:spChg>
        <pc:spChg chg="mod ord">
          <ac:chgData name="Petra Rijkelijkhuizen" userId="4d0fe5e7-c5eb-492b-b7df-305f8e55e396" providerId="ADAL" clId="{7FDD25B6-47D1-4A17-9C2F-43903113014F}" dt="2024-04-05T12:45:46.028" v="386" actId="700"/>
          <ac:spMkLst>
            <pc:docMk/>
            <pc:sldMk cId="4256846419" sldId="393"/>
            <ac:spMk id="3" creationId="{C2A5F788-9F4D-FA2B-741D-214EA2018448}"/>
          </ac:spMkLst>
        </pc:spChg>
        <pc:spChg chg="del">
          <ac:chgData name="Petra Rijkelijkhuizen" userId="4d0fe5e7-c5eb-492b-b7df-305f8e55e396" providerId="ADAL" clId="{7FDD25B6-47D1-4A17-9C2F-43903113014F}" dt="2024-04-05T12:45:15.473" v="383" actId="478"/>
          <ac:spMkLst>
            <pc:docMk/>
            <pc:sldMk cId="4256846419" sldId="393"/>
            <ac:spMk id="4" creationId="{FE2A38AF-1E08-9B77-C06D-AE29FE86ADDA}"/>
          </ac:spMkLst>
        </pc:spChg>
        <pc:spChg chg="mod ord">
          <ac:chgData name="Petra Rijkelijkhuizen" userId="4d0fe5e7-c5eb-492b-b7df-305f8e55e396" providerId="ADAL" clId="{7FDD25B6-47D1-4A17-9C2F-43903113014F}" dt="2024-04-05T12:55:00.254" v="437" actId="20577"/>
          <ac:spMkLst>
            <pc:docMk/>
            <pc:sldMk cId="4256846419" sldId="393"/>
            <ac:spMk id="5" creationId="{39BE5175-CE4D-4115-68FA-DB3AB485BA8D}"/>
          </ac:spMkLst>
        </pc:spChg>
        <pc:spChg chg="del mod ord">
          <ac:chgData name="Petra Rijkelijkhuizen" userId="4d0fe5e7-c5eb-492b-b7df-305f8e55e396" providerId="ADAL" clId="{7FDD25B6-47D1-4A17-9C2F-43903113014F}" dt="2024-04-05T12:45:46.028" v="386" actId="700"/>
          <ac:spMkLst>
            <pc:docMk/>
            <pc:sldMk cId="4256846419" sldId="393"/>
            <ac:spMk id="6" creationId="{9A8BCAB3-2D9D-D580-2CD8-8187BDF92444}"/>
          </ac:spMkLst>
        </pc:spChg>
        <pc:spChg chg="add del mod ord">
          <ac:chgData name="Petra Rijkelijkhuizen" userId="4d0fe5e7-c5eb-492b-b7df-305f8e55e396" providerId="ADAL" clId="{7FDD25B6-47D1-4A17-9C2F-43903113014F}" dt="2024-04-05T12:45:55.232" v="387" actId="478"/>
          <ac:spMkLst>
            <pc:docMk/>
            <pc:sldMk cId="4256846419" sldId="393"/>
            <ac:spMk id="7" creationId="{77A95EAD-964C-76A1-5583-4693DA9B972F}"/>
          </ac:spMkLst>
        </pc:spChg>
        <pc:spChg chg="add del mod ord">
          <ac:chgData name="Petra Rijkelijkhuizen" userId="4d0fe5e7-c5eb-492b-b7df-305f8e55e396" providerId="ADAL" clId="{7FDD25B6-47D1-4A17-9C2F-43903113014F}" dt="2024-04-05T12:48:02.805" v="389" actId="1957"/>
          <ac:spMkLst>
            <pc:docMk/>
            <pc:sldMk cId="4256846419" sldId="393"/>
            <ac:spMk id="8" creationId="{851A0ADF-8F97-65A0-8B32-846BCB8AF160}"/>
          </ac:spMkLst>
        </pc:spChg>
        <pc:spChg chg="add mod ord">
          <ac:chgData name="Petra Rijkelijkhuizen" userId="4d0fe5e7-c5eb-492b-b7df-305f8e55e396" providerId="ADAL" clId="{7FDD25B6-47D1-4A17-9C2F-43903113014F}" dt="2024-04-05T12:45:46.028" v="386" actId="700"/>
          <ac:spMkLst>
            <pc:docMk/>
            <pc:sldMk cId="4256846419" sldId="393"/>
            <ac:spMk id="9" creationId="{1DB2D525-6D70-FDA7-3004-4645B30EADFD}"/>
          </ac:spMkLst>
        </pc:spChg>
        <pc:graphicFrameChg chg="add mod">
          <ac:chgData name="Petra Rijkelijkhuizen" userId="4d0fe5e7-c5eb-492b-b7df-305f8e55e396" providerId="ADAL" clId="{7FDD25B6-47D1-4A17-9C2F-43903113014F}" dt="2024-04-05T12:48:02.805" v="389" actId="1957"/>
          <ac:graphicFrameMkLst>
            <pc:docMk/>
            <pc:sldMk cId="4256846419" sldId="393"/>
            <ac:graphicFrameMk id="12" creationId="{8BA67AB7-8AA8-08CB-DDE9-78C0354D3453}"/>
          </ac:graphicFrameMkLst>
        </pc:graphicFrameChg>
      </pc:sldChg>
      <pc:sldMasterChg chg="delSldLayout">
        <pc:chgData name="Petra Rijkelijkhuizen" userId="4d0fe5e7-c5eb-492b-b7df-305f8e55e396" providerId="ADAL" clId="{7FDD25B6-47D1-4A17-9C2F-43903113014F}" dt="2024-04-05T12:44:41.338" v="366" actId="47"/>
        <pc:sldMasterMkLst>
          <pc:docMk/>
          <pc:sldMasterMk cId="3062616126" sldId="2147483648"/>
        </pc:sldMasterMkLst>
        <pc:sldLayoutChg chg="del">
          <pc:chgData name="Petra Rijkelijkhuizen" userId="4d0fe5e7-c5eb-492b-b7df-305f8e55e396" providerId="ADAL" clId="{7FDD25B6-47D1-4A17-9C2F-43903113014F}" dt="2024-04-05T12:44:41.338" v="366" actId="47"/>
          <pc:sldLayoutMkLst>
            <pc:docMk/>
            <pc:sldMasterMk cId="3062616126" sldId="2147483648"/>
            <pc:sldLayoutMk cId="202132311" sldId="214748367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E-book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Blad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Blad1!$B$2:$B$5</c:f>
              <c:numCache>
                <c:formatCode>General</c:formatCode>
                <c:ptCount val="4"/>
                <c:pt idx="0">
                  <c:v>6.1</c:v>
                </c:pt>
                <c:pt idx="1">
                  <c:v>6.1</c:v>
                </c:pt>
                <c:pt idx="2">
                  <c:v>5.6</c:v>
                </c:pt>
                <c:pt idx="3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92-47F4-8759-979755E85EF3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Audiobook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Blad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Blad1!$C$2:$C$5</c:f>
              <c:numCache>
                <c:formatCode>General</c:formatCode>
                <c:ptCount val="4"/>
                <c:pt idx="0">
                  <c:v>2.5</c:v>
                </c:pt>
                <c:pt idx="1">
                  <c:v>2.4</c:v>
                </c:pt>
                <c:pt idx="2">
                  <c:v>2.5</c:v>
                </c:pt>
                <c:pt idx="3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92-47F4-8759-979755E85E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83945952"/>
        <c:axId val="2044577295"/>
      </c:barChart>
      <c:catAx>
        <c:axId val="178394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044577295"/>
        <c:crosses val="autoZero"/>
        <c:auto val="1"/>
        <c:lblAlgn val="ctr"/>
        <c:lblOffset val="100"/>
        <c:noMultiLvlLbl val="0"/>
      </c:catAx>
      <c:valAx>
        <c:axId val="2044577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783945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3999173E-515A-462C-8E51-1C7D5A4C10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599851D4-8693-4DBA-836B-DB488CDA09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62ED51-A574-4613-88E0-1555654B4100}" type="datetime4">
              <a:rPr lang="nl-NL" sz="1000" smtClean="0"/>
              <a:t>5 april 2024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8124ED1-25C9-4EBF-924E-5D0EEECE16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8245366-1964-44F8-B7E5-741170DA5C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48443-8F8B-4CED-B69E-C3E353E31085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20933932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CEE1D9B6-DF1F-4FBF-828A-99D873AE59AB}" type="datetime4">
              <a:rPr lang="nl-NL" smtClean="0"/>
              <a:t>5 april 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4840B3E4-1789-47F8-9E4E-BC7A36243C6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5733747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94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Wanneer een </a:t>
              </a:r>
              <a:r>
                <a:rPr lang="nl-NL" sz="1000" b="1" noProof="0" dirty="0">
                  <a:solidFill>
                    <a:schemeClr val="tx2"/>
                  </a:solidFill>
                  <a:latin typeface="+mn-lt"/>
                </a:rPr>
                <a:t>logo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n een </a:t>
              </a:r>
              <a:r>
                <a:rPr lang="nl-NL" sz="1000" b="1" noProof="0" dirty="0" err="1">
                  <a:solidFill>
                    <a:schemeClr val="tx2"/>
                  </a:solidFill>
                  <a:latin typeface="+mn-lt"/>
                </a:rPr>
                <a:t>afbeeldingsplaceholder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Ga in het lint naar Hulpmiddelen voor afbeeldingen - </a:t>
              </a:r>
              <a:br>
                <a:rPr lang="nl-NL" sz="1000" noProof="0" dirty="0">
                  <a:solidFill>
                    <a:schemeClr val="tx2"/>
                  </a:solidFill>
                  <a:latin typeface="+mn-lt"/>
                </a:rPr>
              </a:b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90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003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91202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302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5036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05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68653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8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60630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2142E2-81C8-4572-99B1-6586DBE69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371010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74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092621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473082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14316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8377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06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324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38862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20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1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92782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274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79476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359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1008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59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77291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03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39008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03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774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21202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38" imgH="337" progId="TCLayout.ActiveDocument.1">
                  <p:embed/>
                </p:oleObj>
              </mc:Choice>
              <mc:Fallback>
                <p:oleObj name="think-cell Slide" r:id="rId2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60" r:id="rId4"/>
    <p:sldLayoutId id="2147483651" r:id="rId5"/>
    <p:sldLayoutId id="2147483658" r:id="rId6"/>
    <p:sldLayoutId id="2147483659" r:id="rId7"/>
    <p:sldLayoutId id="2147483650" r:id="rId8"/>
    <p:sldLayoutId id="2147483662" r:id="rId9"/>
    <p:sldLayoutId id="2147483661" r:id="rId10"/>
    <p:sldLayoutId id="2147483663" r:id="rId11"/>
    <p:sldLayoutId id="2147483665" r:id="rId12"/>
    <p:sldLayoutId id="2147483664" r:id="rId13"/>
    <p:sldLayoutId id="2147483654" r:id="rId14"/>
    <p:sldLayoutId id="2147483666" r:id="rId15"/>
    <p:sldLayoutId id="2147483668" r:id="rId16"/>
    <p:sldLayoutId id="2147483669" r:id="rId17"/>
    <p:sldLayoutId id="2147483670" r:id="rId18"/>
    <p:sldLayoutId id="2147483671" r:id="rId19"/>
    <p:sldLayoutId id="2147483667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 descr="Afbeelding met gebouw, buitenshuis, hemel, wolk&#10;&#10;Automatisch gegenereerde beschrijving">
            <a:extLst>
              <a:ext uri="{FF2B5EF4-FFF2-40B4-BE49-F238E27FC236}">
                <a16:creationId xmlns:a16="http://schemas.microsoft.com/office/drawing/2014/main" id="{08B1DA2B-F440-A144-2FA1-8FF3AAEAB93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54" b="22054"/>
          <a:stretch>
            <a:fillRect/>
          </a:stretch>
        </p:blipFill>
        <p:spPr>
          <a:xfrm>
            <a:off x="4059238" y="2255838"/>
            <a:ext cx="8005762" cy="3351212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99A8E71-E65B-32C2-EDAF-A096B6889D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Online Library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38EC9A93-6B07-FA45-96D3-3668622DAD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sz="3200" dirty="0"/>
              <a:t>Petra Rijkelijkhuizen</a:t>
            </a:r>
          </a:p>
          <a:p>
            <a:r>
              <a:rPr lang="nl-NL" sz="3200" dirty="0"/>
              <a:t>April 2024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0E53C6D-E277-8343-ACFA-5AD6555225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7582839" cy="1088925"/>
          </a:xfrm>
        </p:spPr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netherlands</a:t>
            </a:r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0786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2EC650E-6218-81D7-DBE1-FB9974891A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l-NL" dirty="0"/>
              <a:t>2014 - 2024</a:t>
            </a:r>
            <a:endParaRPr lang="nl-NL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0BFE7DDE-28DB-D93A-0F2E-485C47701E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2661" y="6328035"/>
            <a:ext cx="6840000" cy="26161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nl-NL"/>
              <a:t>Voettekst invullen via Invoegen - Koptekst en voetteks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D773876-C1BF-5256-98FE-40DE56BC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5760000" cy="5539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10 </a:t>
            </a:r>
            <a:r>
              <a:rPr lang="nl-NL" dirty="0" err="1"/>
              <a:t>years</a:t>
            </a:r>
            <a:r>
              <a:rPr lang="nl-NL" dirty="0"/>
              <a:t> of e-</a:t>
            </a:r>
            <a:r>
              <a:rPr lang="nl-NL" dirty="0" err="1"/>
              <a:t>lending</a:t>
            </a:r>
            <a:endParaRPr lang="nl-NL" dirty="0"/>
          </a:p>
        </p:txBody>
      </p:sp>
      <p:pic>
        <p:nvPicPr>
          <p:cNvPr id="14" name="Tijdelijke aanduiding voor afbeelding 13" descr="Afbeelding met kleding, persoon, schoeisel, person&#10;&#10;Automatisch gegenereerde beschrijving">
            <a:extLst>
              <a:ext uri="{FF2B5EF4-FFF2-40B4-BE49-F238E27FC236}">
                <a16:creationId xmlns:a16="http://schemas.microsoft.com/office/drawing/2014/main" id="{E6FA63CB-E81B-9F6E-8A44-038E3DC141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34" r="-3" b="-3"/>
          <a:stretch/>
        </p:blipFill>
        <p:spPr>
          <a:xfrm>
            <a:off x="7096124" y="1133475"/>
            <a:ext cx="5095875" cy="4600575"/>
          </a:xfrm>
          <a:noFill/>
        </p:spPr>
      </p:pic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893C9390-4AB0-0775-F59F-6957AFB50B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60924" y="6178322"/>
            <a:ext cx="1141200" cy="456654"/>
          </a:xfrm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0826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FDAD430-5B03-47CD-BA0F-AF3C764780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nl-NL" sz="2400" dirty="0"/>
              <a:t>42.250 e-book titels</a:t>
            </a:r>
          </a:p>
          <a:p>
            <a:pPr>
              <a:spcAft>
                <a:spcPts val="600"/>
              </a:spcAft>
            </a:pPr>
            <a:endParaRPr lang="nl-NL" sz="2400" dirty="0"/>
          </a:p>
          <a:p>
            <a:pPr>
              <a:spcAft>
                <a:spcPts val="600"/>
              </a:spcAft>
            </a:pPr>
            <a:r>
              <a:rPr lang="nl-NL" sz="2400" dirty="0"/>
              <a:t>13.400 </a:t>
            </a:r>
            <a:r>
              <a:rPr lang="nl-NL" sz="2400" dirty="0" err="1"/>
              <a:t>audiobook</a:t>
            </a:r>
            <a:r>
              <a:rPr lang="nl-NL" sz="2400" dirty="0"/>
              <a:t> </a:t>
            </a:r>
            <a:r>
              <a:rPr lang="nl-NL" sz="2400" dirty="0" err="1"/>
              <a:t>titles</a:t>
            </a:r>
            <a:endParaRPr lang="nl-NL" sz="2400" dirty="0"/>
          </a:p>
          <a:p>
            <a:pPr>
              <a:spcAft>
                <a:spcPts val="600"/>
              </a:spcAft>
            </a:pPr>
            <a:endParaRPr lang="nl-NL" sz="2400" dirty="0"/>
          </a:p>
          <a:p>
            <a:pPr>
              <a:spcAft>
                <a:spcPts val="600"/>
              </a:spcAft>
            </a:pPr>
            <a:r>
              <a:rPr lang="nl-NL" sz="2400" dirty="0"/>
              <a:t>26 magazines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81B383-D1CB-4E01-BB3D-F9C1221D7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/>
          </a:bodyPr>
          <a:lstStyle/>
          <a:p>
            <a:r>
              <a:rPr lang="nl-NL" dirty="0"/>
              <a:t>Collection 1/4/2024</a:t>
            </a:r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81A67E58-5E5E-4DC2-BAFC-4EED706211B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7" name="Tijdelijke aanduiding voor afbeelding 6" descr="Afbeelding met tekst, boek, Communicatieapparaat, Tablet&#10;&#10;Automatisch gegenereerde beschrijving">
            <a:extLst>
              <a:ext uri="{FF2B5EF4-FFF2-40B4-BE49-F238E27FC236}">
                <a16:creationId xmlns:a16="http://schemas.microsoft.com/office/drawing/2014/main" id="{91DEE978-0ED5-041E-AC44-0F16C483F91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19" b="701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79718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98E538BE-7D35-4B18-A436-8404519C16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1679511"/>
            <a:ext cx="5760000" cy="4054540"/>
          </a:xfrm>
        </p:spPr>
        <p:txBody>
          <a:bodyPr>
            <a:normAutofit/>
          </a:bodyPr>
          <a:lstStyle/>
          <a:p>
            <a:pPr marL="267970" indent="-267970"/>
            <a:r>
              <a:rPr lang="nl-NL" sz="2800" dirty="0" err="1">
                <a:cs typeface="Arial"/>
              </a:rPr>
              <a:t>One</a:t>
            </a:r>
            <a:r>
              <a:rPr lang="nl-NL" sz="2800" dirty="0">
                <a:cs typeface="Arial"/>
              </a:rPr>
              <a:t> copy, multiple </a:t>
            </a:r>
            <a:r>
              <a:rPr lang="nl-NL" sz="2800" dirty="0" err="1">
                <a:cs typeface="Arial"/>
              </a:rPr>
              <a:t>use</a:t>
            </a:r>
            <a:endParaRPr lang="nl-NL" sz="2800" dirty="0">
              <a:cs typeface="Arial"/>
            </a:endParaRPr>
          </a:p>
          <a:p>
            <a:pPr marL="267970" indent="-267970"/>
            <a:endParaRPr lang="nl-NL" sz="2800" dirty="0">
              <a:cs typeface="Arial"/>
            </a:endParaRPr>
          </a:p>
          <a:p>
            <a:pPr marL="267970" indent="-267970"/>
            <a:r>
              <a:rPr lang="nl-NL" sz="2800" dirty="0" err="1">
                <a:cs typeface="Arial"/>
              </a:rPr>
              <a:t>Pay</a:t>
            </a:r>
            <a:r>
              <a:rPr lang="nl-NL" sz="2800" dirty="0">
                <a:cs typeface="Arial"/>
              </a:rPr>
              <a:t> per </a:t>
            </a:r>
            <a:r>
              <a:rPr lang="nl-NL" sz="2800" dirty="0" err="1">
                <a:cs typeface="Arial"/>
              </a:rPr>
              <a:t>use</a:t>
            </a:r>
            <a:endParaRPr lang="nl-NL" sz="2800" dirty="0">
              <a:cs typeface="Arial"/>
            </a:endParaRPr>
          </a:p>
          <a:p>
            <a:pPr marL="0" indent="0">
              <a:buNone/>
            </a:pPr>
            <a:endParaRPr lang="nl-NL" sz="2800" dirty="0">
              <a:cs typeface="Arial"/>
            </a:endParaRPr>
          </a:p>
          <a:p>
            <a:pPr marL="267970" indent="-267970"/>
            <a:r>
              <a:rPr lang="nl-NL" sz="2800" dirty="0">
                <a:cs typeface="Arial"/>
              </a:rPr>
              <a:t>No </a:t>
            </a:r>
            <a:r>
              <a:rPr lang="nl-NL" sz="2800" dirty="0" err="1">
                <a:cs typeface="Arial"/>
              </a:rPr>
              <a:t>limits</a:t>
            </a:r>
            <a:r>
              <a:rPr lang="nl-NL" sz="2800" dirty="0">
                <a:cs typeface="Arial"/>
              </a:rPr>
              <a:t> </a:t>
            </a:r>
            <a:r>
              <a:rPr lang="nl-NL" sz="2800" dirty="0" err="1">
                <a:cs typeface="Arial"/>
              </a:rPr>
              <a:t>to</a:t>
            </a:r>
            <a:r>
              <a:rPr lang="nl-NL" sz="2800" dirty="0">
                <a:cs typeface="Arial"/>
              </a:rPr>
              <a:t> </a:t>
            </a:r>
            <a:r>
              <a:rPr lang="nl-NL" sz="2800" dirty="0" err="1">
                <a:cs typeface="Arial"/>
              </a:rPr>
              <a:t>the</a:t>
            </a:r>
            <a:r>
              <a:rPr lang="nl-NL" sz="2800" dirty="0">
                <a:cs typeface="Arial"/>
              </a:rPr>
              <a:t> </a:t>
            </a:r>
            <a:r>
              <a:rPr lang="nl-NL" sz="2800" dirty="0" err="1">
                <a:cs typeface="Arial"/>
              </a:rPr>
              <a:t>number</a:t>
            </a:r>
            <a:r>
              <a:rPr lang="nl-NL" sz="2800" dirty="0">
                <a:cs typeface="Arial"/>
              </a:rPr>
              <a:t> of </a:t>
            </a:r>
            <a:r>
              <a:rPr lang="nl-NL" sz="2800" dirty="0" err="1">
                <a:cs typeface="Arial"/>
              </a:rPr>
              <a:t>loans</a:t>
            </a:r>
            <a:endParaRPr lang="nl-NL" sz="2800" dirty="0">
              <a:cs typeface="Arial"/>
            </a:endParaRPr>
          </a:p>
          <a:p>
            <a:pPr marL="267970" indent="-267970"/>
            <a:endParaRPr lang="nl-NL" sz="2800" dirty="0">
              <a:cs typeface="Arial"/>
            </a:endParaRPr>
          </a:p>
          <a:p>
            <a:pPr marL="267970" indent="-267970"/>
            <a:r>
              <a:rPr lang="nl-NL" sz="2800" dirty="0" err="1">
                <a:cs typeface="Arial"/>
              </a:rPr>
              <a:t>Audiobooks</a:t>
            </a:r>
            <a:r>
              <a:rPr lang="nl-NL" sz="2800" dirty="0">
                <a:cs typeface="Arial"/>
              </a:rPr>
              <a:t>, e-books </a:t>
            </a:r>
            <a:r>
              <a:rPr lang="nl-NL" sz="2800" dirty="0" err="1">
                <a:cs typeface="Arial"/>
              </a:rPr>
              <a:t>and</a:t>
            </a:r>
            <a:r>
              <a:rPr lang="nl-NL" sz="2800" dirty="0">
                <a:cs typeface="Arial"/>
              </a:rPr>
              <a:t> e-magazines in </a:t>
            </a:r>
            <a:r>
              <a:rPr lang="nl-NL" sz="2800" dirty="0" err="1">
                <a:cs typeface="Arial"/>
              </a:rPr>
              <a:t>one</a:t>
            </a:r>
            <a:r>
              <a:rPr lang="nl-NL" sz="2800" dirty="0">
                <a:cs typeface="Arial"/>
              </a:rPr>
              <a:t> app, Online Library</a:t>
            </a:r>
          </a:p>
          <a:p>
            <a:pPr marL="0" indent="0">
              <a:buNone/>
            </a:pPr>
            <a:endParaRPr lang="nl-NL" sz="2800" dirty="0">
              <a:cs typeface="Arial"/>
            </a:endParaRPr>
          </a:p>
          <a:p>
            <a:pPr marL="267970" indent="-267970"/>
            <a:endParaRPr lang="nl-NL" sz="2800" dirty="0">
              <a:cs typeface="Arial"/>
            </a:endParaRPr>
          </a:p>
          <a:p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281ED5C-DADD-4383-A328-5BB108A48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 invullen via Invoegen - Koptekst en voettekst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F3BEDC-0E36-4888-BB8D-A6E0B702A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he Dutch model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9A63C54A-9C20-4CDA-A7FB-02865AC19E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2" name="Tijdelijke aanduiding voor afbeelding 11">
            <a:extLst>
              <a:ext uri="{FF2B5EF4-FFF2-40B4-BE49-F238E27FC236}">
                <a16:creationId xmlns:a16="http://schemas.microsoft.com/office/drawing/2014/main" id="{AB728643-84BD-40EC-94E5-018CB60F541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82" b="17082"/>
          <a:stretch>
            <a:fillRect/>
          </a:stretch>
        </p:blipFill>
        <p:spPr>
          <a:xfrm>
            <a:off x="7558088" y="268288"/>
            <a:ext cx="4633912" cy="5788025"/>
          </a:xfrm>
        </p:spPr>
      </p:pic>
    </p:spTree>
    <p:extLst>
      <p:ext uri="{BB962C8B-B14F-4D97-AF65-F5344CB8AC3E}">
        <p14:creationId xmlns:p14="http://schemas.microsoft.com/office/powerpoint/2010/main" val="3513289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22A7F068-8E2A-4A9E-836E-1C6FDBC60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endParaRPr lang="nl-NL" dirty="0"/>
          </a:p>
          <a:p>
            <a:r>
              <a:rPr lang="nl-NL" sz="2800" dirty="0"/>
              <a:t>10 e-books, 10 </a:t>
            </a:r>
            <a:r>
              <a:rPr lang="nl-NL" sz="2800" dirty="0" err="1"/>
              <a:t>audiobook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5 magazines per 3 weeks</a:t>
            </a:r>
          </a:p>
          <a:p>
            <a:endParaRPr lang="nl-NL" sz="2800" dirty="0"/>
          </a:p>
          <a:p>
            <a:r>
              <a:rPr lang="nl-NL" sz="2800" dirty="0" err="1"/>
              <a:t>Adults</a:t>
            </a:r>
            <a:r>
              <a:rPr lang="nl-NL" sz="2800" dirty="0"/>
              <a:t> ha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pay</a:t>
            </a:r>
            <a:r>
              <a:rPr lang="nl-NL" sz="2800" dirty="0"/>
              <a:t> at </a:t>
            </a:r>
            <a:r>
              <a:rPr lang="nl-NL" sz="2800" dirty="0" err="1"/>
              <a:t>least</a:t>
            </a:r>
            <a:r>
              <a:rPr lang="nl-NL" sz="2800" dirty="0"/>
              <a:t> € 42,- per </a:t>
            </a:r>
            <a:r>
              <a:rPr lang="nl-NL" sz="2800" dirty="0" err="1"/>
              <a:t>year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ge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online </a:t>
            </a:r>
            <a:r>
              <a:rPr lang="nl-NL" sz="2800" dirty="0" err="1"/>
              <a:t>library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Childeren</a:t>
            </a:r>
            <a:r>
              <a:rPr lang="nl-NL" sz="2800" dirty="0"/>
              <a:t> have free access </a:t>
            </a:r>
            <a:r>
              <a:rPr lang="nl-NL" sz="2800" dirty="0" err="1"/>
              <a:t>until</a:t>
            </a:r>
            <a:r>
              <a:rPr lang="nl-NL" sz="2800" dirty="0"/>
              <a:t> 18 </a:t>
            </a:r>
            <a:r>
              <a:rPr lang="nl-NL" sz="2800" dirty="0" err="1"/>
              <a:t>years</a:t>
            </a:r>
            <a:r>
              <a:rPr lang="nl-NL" sz="2800" dirty="0"/>
              <a:t>. The digital </a:t>
            </a:r>
            <a:r>
              <a:rPr lang="nl-NL" sz="2800" dirty="0" err="1"/>
              <a:t>collection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is </a:t>
            </a:r>
            <a:r>
              <a:rPr lang="nl-NL" sz="2800" dirty="0" err="1"/>
              <a:t>about</a:t>
            </a:r>
            <a:r>
              <a:rPr lang="nl-NL" sz="2800" dirty="0"/>
              <a:t> 9,000 </a:t>
            </a:r>
            <a:r>
              <a:rPr lang="nl-NL" sz="2800" dirty="0" err="1"/>
              <a:t>title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C4431E7-8EDC-4244-BC96-FBFAD2C5C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 invullen via Invoegen - Koptekst en voettekst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1030C89-4B0E-4F64-AE6C-047E036DA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or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patrons</a:t>
            </a:r>
            <a:endParaRPr lang="nl-NL" dirty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D2E4E54F-67F6-4DBD-A973-0CBCE76AAD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0" name="Tijdelijke aanduiding voor afbeelding 9" descr="Afbeelding met kleding, Menselijk gezicht, boekenkast, boek&#10;&#10;Automatisch gegenereerde beschrijving">
            <a:extLst>
              <a:ext uri="{FF2B5EF4-FFF2-40B4-BE49-F238E27FC236}">
                <a16:creationId xmlns:a16="http://schemas.microsoft.com/office/drawing/2014/main" id="{A22793F7-642E-B609-7A2E-9CB1D887C2C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8" r="3868"/>
          <a:stretch>
            <a:fillRect/>
          </a:stretch>
        </p:blipFill>
        <p:spPr>
          <a:xfrm>
            <a:off x="7096125" y="1809750"/>
            <a:ext cx="5095875" cy="3106738"/>
          </a:xfrm>
        </p:spPr>
      </p:pic>
    </p:spTree>
    <p:extLst>
      <p:ext uri="{BB962C8B-B14F-4D97-AF65-F5344CB8AC3E}">
        <p14:creationId xmlns:p14="http://schemas.microsoft.com/office/powerpoint/2010/main" val="1710517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CFC27AAF-3191-8BC1-8B43-354A58F81F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New magazines</a:t>
            </a:r>
          </a:p>
          <a:p>
            <a:r>
              <a:rPr lang="nl-NL" dirty="0"/>
              <a:t>News </a:t>
            </a:r>
            <a:r>
              <a:rPr lang="nl-NL" dirty="0" err="1"/>
              <a:t>articles</a:t>
            </a:r>
            <a:r>
              <a:rPr lang="nl-NL" dirty="0"/>
              <a:t> (The Correspondent)</a:t>
            </a:r>
          </a:p>
          <a:p>
            <a:r>
              <a:rPr lang="nl-NL" dirty="0"/>
              <a:t>Comics Plus</a:t>
            </a:r>
          </a:p>
          <a:p>
            <a:endParaRPr lang="nl-NL" dirty="0"/>
          </a:p>
          <a:p>
            <a:r>
              <a:rPr lang="nl-NL" dirty="0"/>
              <a:t>Digital </a:t>
            </a:r>
            <a:r>
              <a:rPr lang="nl-NL" dirty="0" err="1"/>
              <a:t>library</a:t>
            </a:r>
            <a:r>
              <a:rPr lang="nl-NL" dirty="0"/>
              <a:t> at school </a:t>
            </a:r>
          </a:p>
          <a:p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3690D3E-F507-3DB6-9A4A-3DA4B5E69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 invullen via Invoegen - Koptekst en voettekst</a:t>
            </a:r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7EC9AD5-9B9E-909C-75D4-CBEBA68E0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New </a:t>
            </a:r>
            <a:r>
              <a:rPr lang="nl-NL" dirty="0" err="1"/>
              <a:t>plans</a:t>
            </a:r>
            <a:r>
              <a:rPr lang="nl-NL" dirty="0"/>
              <a:t>: </a:t>
            </a:r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5ED7880D-DAC7-83AD-8F39-A85FDAA1A2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026" name="Picture 2" descr="Comics Plus has one million checkouts in 2022 - Good e-Reader">
            <a:extLst>
              <a:ext uri="{FF2B5EF4-FFF2-40B4-BE49-F238E27FC236}">
                <a16:creationId xmlns:a16="http://schemas.microsoft.com/office/drawing/2014/main" id="{A1B08712-F82F-85D2-78AE-9082B05257F8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34" b="1373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261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2A5F788-9F4D-FA2B-741D-214EA2018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 invullen via Invoegen - Koptekst en voettekst</a:t>
            </a:r>
            <a:endParaRPr lang="nl-NL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9BE5175-CE4D-4115-68FA-DB3AB485B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1274195"/>
          </a:xfrm>
        </p:spPr>
        <p:txBody>
          <a:bodyPr/>
          <a:lstStyle/>
          <a:p>
            <a:r>
              <a:rPr lang="nl-NL" dirty="0" err="1"/>
              <a:t>Number</a:t>
            </a:r>
            <a:r>
              <a:rPr lang="nl-NL" dirty="0"/>
              <a:t> of </a:t>
            </a:r>
            <a:r>
              <a:rPr lang="nl-NL" dirty="0" err="1"/>
              <a:t>loans</a:t>
            </a:r>
            <a:r>
              <a:rPr lang="nl-NL" dirty="0"/>
              <a:t> e-book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audiobooks</a:t>
            </a:r>
            <a:br>
              <a:rPr lang="nl-NL" dirty="0"/>
            </a:br>
            <a:r>
              <a:rPr lang="nl-NL" sz="1200" dirty="0" err="1"/>
              <a:t>Millions</a:t>
            </a:r>
            <a:endParaRPr lang="nl-NL" dirty="0"/>
          </a:p>
        </p:txBody>
      </p:sp>
      <p:graphicFrame>
        <p:nvGraphicFramePr>
          <p:cNvPr id="12" name="Tijdelijke aanduiding voor inhoud 11">
            <a:extLst>
              <a:ext uri="{FF2B5EF4-FFF2-40B4-BE49-F238E27FC236}">
                <a16:creationId xmlns:a16="http://schemas.microsoft.com/office/drawing/2014/main" id="{8BA67AB7-8AA8-08CB-DDE9-78C0354D345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65180870"/>
              </p:ext>
            </p:extLst>
          </p:nvPr>
        </p:nvGraphicFramePr>
        <p:xfrm>
          <a:off x="982663" y="2060575"/>
          <a:ext cx="10226675" cy="3673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1DB2D525-6D70-FDA7-3004-4645B30EAD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568464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2888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heme/theme1.xml><?xml version="1.0" encoding="utf-8"?>
<a:theme xmlns:a="http://schemas.openxmlformats.org/drawingml/2006/main" name="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7" id="{39AAA381-255B-B647-970E-AD22D8CC8E8B}" vid="{97534D85-5F4B-9E46-84EB-6DE207779A8E}"/>
    </a:ext>
  </a:extLst>
</a:theme>
</file>

<file path=ppt/theme/theme2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7A4FFEFAB43949BA05BBC2D2E3C939" ma:contentTypeVersion="9" ma:contentTypeDescription="Create a new document." ma:contentTypeScope="" ma:versionID="41daf350eec4b495fb61f08171e03cfc">
  <xsd:schema xmlns:xsd="http://www.w3.org/2001/XMLSchema" xmlns:xs="http://www.w3.org/2001/XMLSchema" xmlns:p="http://schemas.microsoft.com/office/2006/metadata/properties" xmlns:ns3="c8210509-a611-4a5b-9550-698b63efb7b0" xmlns:ns4="91658101-7241-4ea0-916c-234bfffb949a" targetNamespace="http://schemas.microsoft.com/office/2006/metadata/properties" ma:root="true" ma:fieldsID="152ed45c68b0bd0d34ea8c52a34f14f1" ns3:_="" ns4:_="">
    <xsd:import namespace="c8210509-a611-4a5b-9550-698b63efb7b0"/>
    <xsd:import namespace="91658101-7241-4ea0-916c-234bfffb949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10509-a611-4a5b-9550-698b63efb7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658101-7241-4ea0-916c-234bfffb949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EBB5FB-DFCE-4DEF-9949-F8CC861782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210509-a611-4a5b-9550-698b63efb7b0"/>
    <ds:schemaRef ds:uri="91658101-7241-4ea0-916c-234bfffb94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4B13D9D-915C-4971-A921-D819E103E2F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CD6D68-2C48-4681-A526-94D549759EA1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B_Powerpoint_DEF</Template>
  <TotalTime>6691</TotalTime>
  <Words>168</Words>
  <Application>Microsoft Office PowerPoint</Application>
  <PresentationFormat>Breedbeeld</PresentationFormat>
  <Paragraphs>40</Paragraphs>
  <Slides>8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2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2" baseType="lpstr">
      <vt:lpstr>Arial</vt:lpstr>
      <vt:lpstr>Calibri</vt:lpstr>
      <vt:lpstr>KB_Powerpoint_DEF</vt:lpstr>
      <vt:lpstr>think-cell Slide</vt:lpstr>
      <vt:lpstr>Online Library</vt:lpstr>
      <vt:lpstr>10 years of e-lending</vt:lpstr>
      <vt:lpstr>Collection 1/4/2024</vt:lpstr>
      <vt:lpstr>The Dutch model</vt:lpstr>
      <vt:lpstr>For the patrons</vt:lpstr>
      <vt:lpstr>New plans: </vt:lpstr>
      <vt:lpstr>Number of loans e-books and audiobooks Millions</vt:lpstr>
      <vt:lpstr>PowerPoint-presentatie</vt:lpstr>
    </vt:vector>
  </TitlesOfParts>
  <Company>Koninklijke Bibliothee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eugd en jongeren</dc:title>
  <dc:creator>Lieke Hoefs</dc:creator>
  <cp:lastModifiedBy>Petra Rijkelijkhuizen</cp:lastModifiedBy>
  <cp:revision>195</cp:revision>
  <dcterms:created xsi:type="dcterms:W3CDTF">2019-05-09T07:39:49Z</dcterms:created>
  <dcterms:modified xsi:type="dcterms:W3CDTF">2024-04-05T13:0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A4FFEFAB43949BA05BBC2D2E3C939</vt:lpwstr>
  </property>
</Properties>
</file>